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 varScale="1">
        <p:scale>
          <a:sx n="55" d="100"/>
          <a:sy n="55" d="100"/>
        </p:scale>
        <p:origin x="1336" y="52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3/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vinash.sarode@accentur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Rushiraj Desa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6129" y="1165480"/>
            <a:ext cx="2859873" cy="2367902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Cloud Technology Architect &amp; Lead – GCP &amp; AWS</a:t>
            </a:r>
          </a:p>
          <a:p>
            <a:r>
              <a:rPr lang="de-DE" sz="1200" dirty="0">
                <a:hlinkClick r:id="rId3"/>
              </a:rPr>
              <a:t>rushiraj.p.desai@accenture.com</a:t>
            </a:r>
            <a:endParaRPr lang="de-DE" sz="1200" dirty="0"/>
          </a:p>
          <a:p>
            <a:r>
              <a:rPr lang="de-DE" sz="1200" dirty="0"/>
              <a:t>+91 9890025644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Finance</a:t>
            </a:r>
          </a:p>
          <a:p>
            <a:r>
              <a:rPr lang="de-DE" dirty="0"/>
              <a:t>Health &amp; Public Services</a:t>
            </a:r>
          </a:p>
          <a:p>
            <a:r>
              <a:rPr lang="de-DE" dirty="0"/>
              <a:t>Retail</a:t>
            </a:r>
          </a:p>
          <a:p>
            <a:r>
              <a:rPr lang="de-DE" dirty="0"/>
              <a:t>Teleco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19"/>
            <a:ext cx="5324965" cy="1177693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 &amp; Opensource Technolgoie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ontainer – K8S/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Cloud Computing:AWS &amp; GCP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027493"/>
          </a:xfrm>
        </p:spPr>
        <p:txBody>
          <a:bodyPr/>
          <a:lstStyle/>
          <a:p>
            <a:r>
              <a:rPr lang="en-US" dirty="0"/>
              <a:t>15+ years experience in design and implementation of distributed, multi-tiers, object oriented, SOA applications, frameworks &amp; cloud architecture/apps in various business domains. Experienced in managing, leading development &amp; integration projects, domain driven design, test driven development.</a:t>
            </a:r>
          </a:p>
          <a:p>
            <a:r>
              <a:rPr lang="en-US" dirty="0"/>
              <a:t>Experienced in microservices, monolithic, SPA applications, GCP, AWS, Java, Kubernetes, open-source technologies such as spring/spring boot, GWT, Kafka, application servers, version control, build and deployment tools, SQL/NO-SQL databases, UI(Html,CSS,JavaScript,JQuery) tech stack. Developed scripts in Python and Perl.</a:t>
            </a:r>
          </a:p>
          <a:p>
            <a:r>
              <a:rPr lang="en-US" dirty="0"/>
              <a:t>Certifications – Google cloud certified Professional Solution Architect, Data Engineer, Security &amp; Cloud Engineer. AWS certified  - Practitioner, Solution Architect Associate. Accenture certified technology architect &amp; designer, SCJP, SCWCD.</a:t>
            </a:r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758195"/>
          </a:xfrm>
        </p:spPr>
        <p:txBody>
          <a:bodyPr/>
          <a:lstStyle/>
          <a:p>
            <a:pPr algn="just"/>
            <a:r>
              <a:rPr lang="de-DE" b="1" dirty="0"/>
              <a:t>Customer Data Platform –Large Retail Client. Location: India.</a:t>
            </a:r>
          </a:p>
          <a:p>
            <a:pPr algn="just"/>
            <a:r>
              <a:rPr lang="de-DE" dirty="0"/>
              <a:t>Tech arch delivery lead for a specific brand of dustomer data platform for scrum team. Agile software develoment methodology. Google Cloud Platform, Kubernetes.</a:t>
            </a:r>
          </a:p>
          <a:p>
            <a:pPr defTabSz="912813">
              <a:defRPr/>
            </a:pPr>
            <a:r>
              <a:rPr lang="en-US" b="1" dirty="0"/>
              <a:t>Care Management Platform – Large Insurance Client . Location: USA &amp; India. 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Tech arch delivery lead for a scrum team. </a:t>
            </a:r>
            <a:r>
              <a:rPr lang="de-DE" dirty="0"/>
              <a:t>Agile software development methodology. Open suorce tech stack such as Spring, Spring boot, Mongo DB etc.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Sparta – Solution for Multifamily Home Loan Securitization – Government Owned Corporation. Location: USA.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Tech arch delivery lead for microservices application analysis, design and development. </a:t>
            </a:r>
            <a:r>
              <a:rPr lang="de-DE" dirty="0"/>
              <a:t>Agile software development methodology.  AWS and Openshift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Government Client. Location India &amp; USA.</a:t>
            </a:r>
          </a:p>
          <a:p>
            <a:r>
              <a:rPr lang="en-US" dirty="0"/>
              <a:t>Tech arch and Sr. Engineer for large scale technology migration –Internal web application (&gt;500 pages), a public facing website, &gt; 300  batch applications &amp; business processes. </a:t>
            </a:r>
            <a:endParaRPr lang="de-DE" b="1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405755"/>
            <a:ext cx="4878355" cy="269304"/>
          </a:xfrm>
        </p:spPr>
        <p:txBody>
          <a:bodyPr/>
          <a:lstStyle/>
          <a:p>
            <a:r>
              <a:rPr lang="de-DE" dirty="0"/>
              <a:t>Technology Architect – Cloud Architect – Solution, Data, Security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87CDA0A-138F-4016-A990-1D0D03AA271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5754" y="775188"/>
            <a:ext cx="2373547" cy="2758194"/>
          </a:xfrm>
        </p:spPr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787C45-00BE-438F-B7FB-E176DDCEFA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754" y="775188"/>
            <a:ext cx="2373548" cy="275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72</Words>
  <Application>Microsoft Office PowerPoint</Application>
  <PresentationFormat>Widescreen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1-03-01T03:5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